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38" r:id="rId5"/>
    <p:sldMasterId id="2147483885" r:id="rId6"/>
  </p:sldMasterIdLst>
  <p:notesMasterIdLst>
    <p:notesMasterId r:id="rId19"/>
  </p:notesMasterIdLst>
  <p:handoutMasterIdLst>
    <p:handoutMasterId r:id="rId20"/>
  </p:handoutMasterIdLst>
  <p:sldIdLst>
    <p:sldId id="296" r:id="rId7"/>
    <p:sldId id="405" r:id="rId8"/>
    <p:sldId id="419" r:id="rId9"/>
    <p:sldId id="420" r:id="rId10"/>
    <p:sldId id="422" r:id="rId11"/>
    <p:sldId id="421" r:id="rId12"/>
    <p:sldId id="423" r:id="rId13"/>
    <p:sldId id="424" r:id="rId14"/>
    <p:sldId id="426" r:id="rId15"/>
    <p:sldId id="429" r:id="rId16"/>
    <p:sldId id="428" r:id="rId17"/>
    <p:sldId id="417" r:id="rId18"/>
  </p:sldIdLst>
  <p:sldSz cx="12192000" cy="6858000"/>
  <p:notesSz cx="6858000" cy="9144000"/>
  <p:custDataLst>
    <p:tags r:id="rId2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P CPI Overview" id="{4E249A1C-D928-4AC0-A77C-65440B7A141B}">
          <p14:sldIdLst>
            <p14:sldId id="296"/>
            <p14:sldId id="405"/>
            <p14:sldId id="419"/>
            <p14:sldId id="420"/>
            <p14:sldId id="422"/>
            <p14:sldId id="421"/>
            <p14:sldId id="423"/>
            <p14:sldId id="424"/>
            <p14:sldId id="426"/>
            <p14:sldId id="429"/>
            <p14:sldId id="428"/>
            <p14:sldId id="41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FF7E83"/>
    <a:srgbClr val="2B0A3D"/>
    <a:srgbClr val="00C37B"/>
    <a:srgbClr val="95E616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291" autoAdjust="0"/>
  </p:normalViewPr>
  <p:slideViewPr>
    <p:cSldViewPr>
      <p:cViewPr varScale="1">
        <p:scale>
          <a:sx n="70" d="100"/>
          <a:sy n="70" d="100"/>
        </p:scale>
        <p:origin x="536" y="6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330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5/09/2019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5/09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20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291765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xmlns="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2216000" cy="5173384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xmlns="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xmlns="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736000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831750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xmlns="" id="{3DB2FB67-77DB-4CBD-9C92-DA7BCA020134}"/>
              </a:ext>
            </a:extLst>
          </p:cNvPr>
          <p:cNvGrpSpPr/>
          <p:nvPr userDrawn="1"/>
        </p:nvGrpSpPr>
        <p:grpSpPr>
          <a:xfrm>
            <a:off x="4632000" y="-23150"/>
            <a:ext cx="7560000" cy="6874296"/>
            <a:chOff x="3847179" y="1294078"/>
            <a:chExt cx="4118037" cy="3744526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xmlns="" id="{7B3D07D9-2D6C-4A90-84F6-F3E3AEFB2EA9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xmlns="" id="{9445503A-D671-42FD-8762-A4BB0BDDD6B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92000" y="549001"/>
            <a:ext cx="5392948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24001" y="4599973"/>
            <a:ext cx="3096000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6000"/>
            <a:ext cx="5040000" cy="1123654"/>
            <a:chOff x="728663" y="4465638"/>
            <a:chExt cx="5354637" cy="1193801"/>
          </a:xfrm>
        </p:grpSpPr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5491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580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9" name="Freeform 5"/>
          <p:cNvSpPr>
            <a:spLocks/>
          </p:cNvSpPr>
          <p:nvPr userDrawn="1"/>
        </p:nvSpPr>
        <p:spPr bwMode="auto">
          <a:xfrm>
            <a:off x="1009650" y="0"/>
            <a:ext cx="11182350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44" y="0"/>
              </a:cxn>
              <a:cxn ang="0">
                <a:pos x="7044" y="4320"/>
              </a:cxn>
              <a:cxn ang="0">
                <a:pos x="7040" y="4320"/>
              </a:cxn>
              <a:cxn ang="0">
                <a:pos x="4170" y="4320"/>
              </a:cxn>
              <a:cxn ang="0">
                <a:pos x="4150" y="4318"/>
              </a:cxn>
              <a:cxn ang="0">
                <a:pos x="4132" y="4308"/>
              </a:cxn>
              <a:cxn ang="0">
                <a:pos x="3522" y="3806"/>
              </a:cxn>
              <a:cxn ang="0">
                <a:pos x="3468" y="3760"/>
              </a:cxn>
              <a:cxn ang="0">
                <a:pos x="3416" y="3714"/>
              </a:cxn>
              <a:cxn ang="0">
                <a:pos x="3492" y="3568"/>
              </a:cxn>
              <a:cxn ang="0">
                <a:pos x="3522" y="3504"/>
              </a:cxn>
              <a:cxn ang="0">
                <a:pos x="3578" y="3378"/>
              </a:cxn>
              <a:cxn ang="0">
                <a:pos x="3622" y="3248"/>
              </a:cxn>
              <a:cxn ang="0">
                <a:pos x="3652" y="3116"/>
              </a:cxn>
              <a:cxn ang="0">
                <a:pos x="3664" y="3046"/>
              </a:cxn>
              <a:cxn ang="0">
                <a:pos x="3670" y="2964"/>
              </a:cxn>
              <a:cxn ang="0">
                <a:pos x="3670" y="2884"/>
              </a:cxn>
              <a:cxn ang="0">
                <a:pos x="3662" y="2802"/>
              </a:cxn>
              <a:cxn ang="0">
                <a:pos x="3648" y="2722"/>
              </a:cxn>
              <a:cxn ang="0">
                <a:pos x="3632" y="2666"/>
              </a:cxn>
              <a:cxn ang="0">
                <a:pos x="3590" y="2560"/>
              </a:cxn>
              <a:cxn ang="0">
                <a:pos x="3536" y="2460"/>
              </a:cxn>
              <a:cxn ang="0">
                <a:pos x="3470" y="2366"/>
              </a:cxn>
              <a:cxn ang="0">
                <a:pos x="3434" y="2322"/>
              </a:cxn>
              <a:cxn ang="0">
                <a:pos x="3338" y="2220"/>
              </a:cxn>
              <a:cxn ang="0">
                <a:pos x="3236" y="2130"/>
              </a:cxn>
              <a:cxn ang="0">
                <a:pos x="3126" y="2046"/>
              </a:cxn>
              <a:cxn ang="0">
                <a:pos x="3012" y="1966"/>
              </a:cxn>
              <a:cxn ang="0">
                <a:pos x="2932" y="1916"/>
              </a:cxn>
              <a:cxn ang="0">
                <a:pos x="2766" y="1818"/>
              </a:cxn>
              <a:cxn ang="0">
                <a:pos x="2598" y="1728"/>
              </a:cxn>
              <a:cxn ang="0">
                <a:pos x="2340" y="1602"/>
              </a:cxn>
              <a:cxn ang="0">
                <a:pos x="2198" y="1536"/>
              </a:cxn>
              <a:cxn ang="0">
                <a:pos x="1772" y="1348"/>
              </a:cxn>
              <a:cxn ang="0">
                <a:pos x="1200" y="1106"/>
              </a:cxn>
              <a:cxn ang="0">
                <a:pos x="1118" y="1070"/>
              </a:cxn>
              <a:cxn ang="0">
                <a:pos x="954" y="994"/>
              </a:cxn>
              <a:cxn ang="0">
                <a:pos x="798" y="908"/>
              </a:cxn>
              <a:cxn ang="0">
                <a:pos x="646" y="814"/>
              </a:cxn>
              <a:cxn ang="0">
                <a:pos x="572" y="760"/>
              </a:cxn>
              <a:cxn ang="0">
                <a:pos x="448" y="658"/>
              </a:cxn>
              <a:cxn ang="0">
                <a:pos x="332" y="548"/>
              </a:cxn>
              <a:cxn ang="0">
                <a:pos x="228" y="426"/>
              </a:cxn>
              <a:cxn ang="0">
                <a:pos x="136" y="292"/>
              </a:cxn>
              <a:cxn ang="0">
                <a:pos x="94" y="222"/>
              </a:cxn>
              <a:cxn ang="0">
                <a:pos x="58" y="150"/>
              </a:cxn>
              <a:cxn ang="0">
                <a:pos x="28" y="76"/>
              </a:cxn>
              <a:cxn ang="0">
                <a:pos x="0" y="0"/>
              </a:cxn>
            </a:cxnLst>
            <a:rect l="0" t="0" r="r" b="b"/>
            <a:pathLst>
              <a:path w="7044" h="4320">
                <a:moveTo>
                  <a:pt x="0" y="0"/>
                </a:moveTo>
                <a:lnTo>
                  <a:pt x="0" y="0"/>
                </a:lnTo>
                <a:lnTo>
                  <a:pt x="7044" y="0"/>
                </a:lnTo>
                <a:lnTo>
                  <a:pt x="7044" y="0"/>
                </a:lnTo>
                <a:lnTo>
                  <a:pt x="7044" y="4320"/>
                </a:lnTo>
                <a:lnTo>
                  <a:pt x="7044" y="4320"/>
                </a:lnTo>
                <a:lnTo>
                  <a:pt x="7040" y="4320"/>
                </a:lnTo>
                <a:lnTo>
                  <a:pt x="7040" y="4320"/>
                </a:lnTo>
                <a:lnTo>
                  <a:pt x="4170" y="4320"/>
                </a:lnTo>
                <a:lnTo>
                  <a:pt x="4170" y="4320"/>
                </a:lnTo>
                <a:lnTo>
                  <a:pt x="4160" y="4320"/>
                </a:lnTo>
                <a:lnTo>
                  <a:pt x="4150" y="4318"/>
                </a:lnTo>
                <a:lnTo>
                  <a:pt x="4140" y="4314"/>
                </a:lnTo>
                <a:lnTo>
                  <a:pt x="4132" y="4308"/>
                </a:lnTo>
                <a:lnTo>
                  <a:pt x="4132" y="4308"/>
                </a:lnTo>
                <a:lnTo>
                  <a:pt x="3522" y="3806"/>
                </a:lnTo>
                <a:lnTo>
                  <a:pt x="3522" y="3806"/>
                </a:lnTo>
                <a:lnTo>
                  <a:pt x="3468" y="3760"/>
                </a:lnTo>
                <a:lnTo>
                  <a:pt x="3416" y="3714"/>
                </a:lnTo>
                <a:lnTo>
                  <a:pt x="3416" y="3714"/>
                </a:lnTo>
                <a:lnTo>
                  <a:pt x="3454" y="3640"/>
                </a:lnTo>
                <a:lnTo>
                  <a:pt x="3492" y="3568"/>
                </a:lnTo>
                <a:lnTo>
                  <a:pt x="3492" y="3568"/>
                </a:lnTo>
                <a:lnTo>
                  <a:pt x="3522" y="3504"/>
                </a:lnTo>
                <a:lnTo>
                  <a:pt x="3552" y="3442"/>
                </a:lnTo>
                <a:lnTo>
                  <a:pt x="3578" y="3378"/>
                </a:lnTo>
                <a:lnTo>
                  <a:pt x="3600" y="3314"/>
                </a:lnTo>
                <a:lnTo>
                  <a:pt x="3622" y="3248"/>
                </a:lnTo>
                <a:lnTo>
                  <a:pt x="3638" y="3182"/>
                </a:lnTo>
                <a:lnTo>
                  <a:pt x="3652" y="3116"/>
                </a:lnTo>
                <a:lnTo>
                  <a:pt x="3664" y="3046"/>
                </a:lnTo>
                <a:lnTo>
                  <a:pt x="3664" y="3046"/>
                </a:lnTo>
                <a:lnTo>
                  <a:pt x="3668" y="3006"/>
                </a:lnTo>
                <a:lnTo>
                  <a:pt x="3670" y="2964"/>
                </a:lnTo>
                <a:lnTo>
                  <a:pt x="3670" y="2924"/>
                </a:lnTo>
                <a:lnTo>
                  <a:pt x="3670" y="2884"/>
                </a:lnTo>
                <a:lnTo>
                  <a:pt x="3666" y="2844"/>
                </a:lnTo>
                <a:lnTo>
                  <a:pt x="3662" y="2802"/>
                </a:lnTo>
                <a:lnTo>
                  <a:pt x="3656" y="2762"/>
                </a:lnTo>
                <a:lnTo>
                  <a:pt x="3648" y="2722"/>
                </a:lnTo>
                <a:lnTo>
                  <a:pt x="3648" y="2722"/>
                </a:lnTo>
                <a:lnTo>
                  <a:pt x="3632" y="2666"/>
                </a:lnTo>
                <a:lnTo>
                  <a:pt x="3612" y="2612"/>
                </a:lnTo>
                <a:lnTo>
                  <a:pt x="3590" y="2560"/>
                </a:lnTo>
                <a:lnTo>
                  <a:pt x="3564" y="2508"/>
                </a:lnTo>
                <a:lnTo>
                  <a:pt x="3536" y="2460"/>
                </a:lnTo>
                <a:lnTo>
                  <a:pt x="3504" y="2412"/>
                </a:lnTo>
                <a:lnTo>
                  <a:pt x="3470" y="2366"/>
                </a:lnTo>
                <a:lnTo>
                  <a:pt x="3434" y="2322"/>
                </a:lnTo>
                <a:lnTo>
                  <a:pt x="3434" y="2322"/>
                </a:lnTo>
                <a:lnTo>
                  <a:pt x="3388" y="2270"/>
                </a:lnTo>
                <a:lnTo>
                  <a:pt x="3338" y="2220"/>
                </a:lnTo>
                <a:lnTo>
                  <a:pt x="3288" y="2174"/>
                </a:lnTo>
                <a:lnTo>
                  <a:pt x="3236" y="2130"/>
                </a:lnTo>
                <a:lnTo>
                  <a:pt x="3182" y="2086"/>
                </a:lnTo>
                <a:lnTo>
                  <a:pt x="3126" y="2046"/>
                </a:lnTo>
                <a:lnTo>
                  <a:pt x="3070" y="2006"/>
                </a:lnTo>
                <a:lnTo>
                  <a:pt x="3012" y="1966"/>
                </a:lnTo>
                <a:lnTo>
                  <a:pt x="3012" y="1966"/>
                </a:lnTo>
                <a:lnTo>
                  <a:pt x="2932" y="1916"/>
                </a:lnTo>
                <a:lnTo>
                  <a:pt x="2850" y="1866"/>
                </a:lnTo>
                <a:lnTo>
                  <a:pt x="2766" y="1818"/>
                </a:lnTo>
                <a:lnTo>
                  <a:pt x="2682" y="1772"/>
                </a:lnTo>
                <a:lnTo>
                  <a:pt x="2598" y="1728"/>
                </a:lnTo>
                <a:lnTo>
                  <a:pt x="2512" y="1686"/>
                </a:lnTo>
                <a:lnTo>
                  <a:pt x="2340" y="1602"/>
                </a:lnTo>
                <a:lnTo>
                  <a:pt x="2340" y="1602"/>
                </a:lnTo>
                <a:lnTo>
                  <a:pt x="2198" y="1536"/>
                </a:lnTo>
                <a:lnTo>
                  <a:pt x="2056" y="1472"/>
                </a:lnTo>
                <a:lnTo>
                  <a:pt x="1772" y="1348"/>
                </a:lnTo>
                <a:lnTo>
                  <a:pt x="1486" y="1226"/>
                </a:lnTo>
                <a:lnTo>
                  <a:pt x="1200" y="1106"/>
                </a:lnTo>
                <a:lnTo>
                  <a:pt x="1200" y="1106"/>
                </a:lnTo>
                <a:lnTo>
                  <a:pt x="1118" y="1070"/>
                </a:lnTo>
                <a:lnTo>
                  <a:pt x="1036" y="1034"/>
                </a:lnTo>
                <a:lnTo>
                  <a:pt x="954" y="994"/>
                </a:lnTo>
                <a:lnTo>
                  <a:pt x="876" y="952"/>
                </a:lnTo>
                <a:lnTo>
                  <a:pt x="798" y="908"/>
                </a:lnTo>
                <a:lnTo>
                  <a:pt x="720" y="862"/>
                </a:lnTo>
                <a:lnTo>
                  <a:pt x="646" y="814"/>
                </a:lnTo>
                <a:lnTo>
                  <a:pt x="572" y="760"/>
                </a:lnTo>
                <a:lnTo>
                  <a:pt x="572" y="760"/>
                </a:lnTo>
                <a:lnTo>
                  <a:pt x="508" y="710"/>
                </a:lnTo>
                <a:lnTo>
                  <a:pt x="448" y="658"/>
                </a:lnTo>
                <a:lnTo>
                  <a:pt x="388" y="604"/>
                </a:lnTo>
                <a:lnTo>
                  <a:pt x="332" y="548"/>
                </a:lnTo>
                <a:lnTo>
                  <a:pt x="278" y="488"/>
                </a:lnTo>
                <a:lnTo>
                  <a:pt x="228" y="426"/>
                </a:lnTo>
                <a:lnTo>
                  <a:pt x="180" y="360"/>
                </a:lnTo>
                <a:lnTo>
                  <a:pt x="136" y="292"/>
                </a:lnTo>
                <a:lnTo>
                  <a:pt x="136" y="292"/>
                </a:lnTo>
                <a:lnTo>
                  <a:pt x="94" y="222"/>
                </a:lnTo>
                <a:lnTo>
                  <a:pt x="76" y="186"/>
                </a:lnTo>
                <a:lnTo>
                  <a:pt x="58" y="150"/>
                </a:lnTo>
                <a:lnTo>
                  <a:pt x="42" y="114"/>
                </a:lnTo>
                <a:lnTo>
                  <a:pt x="28" y="76"/>
                </a:lnTo>
                <a:lnTo>
                  <a:pt x="14" y="3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65976" y="1690688"/>
            <a:ext cx="6234859" cy="1126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655320" y="622300"/>
            <a:ext cx="6260455" cy="1068388"/>
          </a:xfrm>
          <a:prstGeom prst="rect">
            <a:avLst/>
          </a:prstGeom>
        </p:spPr>
        <p:txBody>
          <a:bodyPr lIns="0" anchor="b"/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125473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4230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Freeform 7"/>
          <p:cNvSpPr>
            <a:spLocks/>
          </p:cNvSpPr>
          <p:nvPr userDrawn="1"/>
        </p:nvSpPr>
        <p:spPr bwMode="auto">
          <a:xfrm>
            <a:off x="5892403" y="1"/>
            <a:ext cx="6327776" cy="5670550"/>
          </a:xfrm>
          <a:custGeom>
            <a:avLst/>
            <a:gdLst/>
            <a:ahLst/>
            <a:cxnLst>
              <a:cxn ang="0">
                <a:pos x="3986" y="2526"/>
              </a:cxn>
              <a:cxn ang="0">
                <a:pos x="3986" y="2512"/>
              </a:cxn>
              <a:cxn ang="0">
                <a:pos x="3986" y="0"/>
              </a:cxn>
              <a:cxn ang="0">
                <a:pos x="648" y="0"/>
              </a:cxn>
              <a:cxn ang="0">
                <a:pos x="682" y="84"/>
              </a:cxn>
              <a:cxn ang="0">
                <a:pos x="698" y="132"/>
              </a:cxn>
              <a:cxn ang="0">
                <a:pos x="724" y="230"/>
              </a:cxn>
              <a:cxn ang="0">
                <a:pos x="738" y="328"/>
              </a:cxn>
              <a:cxn ang="0">
                <a:pos x="744" y="428"/>
              </a:cxn>
              <a:cxn ang="0">
                <a:pos x="744" y="478"/>
              </a:cxn>
              <a:cxn ang="0">
                <a:pos x="734" y="656"/>
              </a:cxn>
              <a:cxn ang="0">
                <a:pos x="710" y="830"/>
              </a:cxn>
              <a:cxn ang="0">
                <a:pos x="674" y="1002"/>
              </a:cxn>
              <a:cxn ang="0">
                <a:pos x="628" y="1172"/>
              </a:cxn>
              <a:cxn ang="0">
                <a:pos x="590" y="1296"/>
              </a:cxn>
              <a:cxn ang="0">
                <a:pos x="504" y="1542"/>
              </a:cxn>
              <a:cxn ang="0">
                <a:pos x="406" y="1782"/>
              </a:cxn>
              <a:cxn ang="0">
                <a:pos x="300" y="2020"/>
              </a:cxn>
              <a:cxn ang="0">
                <a:pos x="244" y="2136"/>
              </a:cxn>
              <a:cxn ang="0">
                <a:pos x="128" y="2366"/>
              </a:cxn>
              <a:cxn ang="0">
                <a:pos x="8" y="2594"/>
              </a:cxn>
              <a:cxn ang="0">
                <a:pos x="0" y="2608"/>
              </a:cxn>
              <a:cxn ang="0">
                <a:pos x="0" y="2612"/>
              </a:cxn>
              <a:cxn ang="0">
                <a:pos x="50" y="2690"/>
              </a:cxn>
              <a:cxn ang="0">
                <a:pos x="100" y="2766"/>
              </a:cxn>
              <a:cxn ang="0">
                <a:pos x="190" y="2890"/>
              </a:cxn>
              <a:cxn ang="0">
                <a:pos x="286" y="3006"/>
              </a:cxn>
              <a:cxn ang="0">
                <a:pos x="390" y="3116"/>
              </a:cxn>
              <a:cxn ang="0">
                <a:pos x="502" y="3220"/>
              </a:cxn>
              <a:cxn ang="0">
                <a:pos x="540" y="3252"/>
              </a:cxn>
              <a:cxn ang="0">
                <a:pos x="622" y="3312"/>
              </a:cxn>
              <a:cxn ang="0">
                <a:pos x="706" y="3366"/>
              </a:cxn>
              <a:cxn ang="0">
                <a:pos x="792" y="3414"/>
              </a:cxn>
              <a:cxn ang="0">
                <a:pos x="882" y="3456"/>
              </a:cxn>
              <a:cxn ang="0">
                <a:pos x="976" y="3492"/>
              </a:cxn>
              <a:cxn ang="0">
                <a:pos x="1070" y="3520"/>
              </a:cxn>
              <a:cxn ang="0">
                <a:pos x="1170" y="3542"/>
              </a:cxn>
              <a:cxn ang="0">
                <a:pos x="1220" y="3552"/>
              </a:cxn>
              <a:cxn ang="0">
                <a:pos x="1374" y="3568"/>
              </a:cxn>
              <a:cxn ang="0">
                <a:pos x="1382" y="3568"/>
              </a:cxn>
              <a:cxn ang="0">
                <a:pos x="1390" y="3572"/>
              </a:cxn>
              <a:cxn ang="0">
                <a:pos x="1420" y="3572"/>
              </a:cxn>
              <a:cxn ang="0">
                <a:pos x="1544" y="3572"/>
              </a:cxn>
              <a:cxn ang="0">
                <a:pos x="1544" y="3568"/>
              </a:cxn>
              <a:cxn ang="0">
                <a:pos x="1610" y="3564"/>
              </a:cxn>
              <a:cxn ang="0">
                <a:pos x="1740" y="3552"/>
              </a:cxn>
              <a:cxn ang="0">
                <a:pos x="1870" y="3530"/>
              </a:cxn>
              <a:cxn ang="0">
                <a:pos x="1998" y="3502"/>
              </a:cxn>
              <a:cxn ang="0">
                <a:pos x="2062" y="3486"/>
              </a:cxn>
              <a:cxn ang="0">
                <a:pos x="2262" y="3426"/>
              </a:cxn>
              <a:cxn ang="0">
                <a:pos x="2458" y="3356"/>
              </a:cxn>
              <a:cxn ang="0">
                <a:pos x="2650" y="3276"/>
              </a:cxn>
              <a:cxn ang="0">
                <a:pos x="2840" y="3190"/>
              </a:cxn>
              <a:cxn ang="0">
                <a:pos x="2966" y="3128"/>
              </a:cxn>
              <a:cxn ang="0">
                <a:pos x="3218" y="2996"/>
              </a:cxn>
              <a:cxn ang="0">
                <a:pos x="3464" y="2858"/>
              </a:cxn>
              <a:cxn ang="0">
                <a:pos x="3708" y="2714"/>
              </a:cxn>
              <a:cxn ang="0">
                <a:pos x="3828" y="2640"/>
              </a:cxn>
              <a:cxn ang="0">
                <a:pos x="3974" y="2548"/>
              </a:cxn>
              <a:cxn ang="0">
                <a:pos x="3984" y="2540"/>
              </a:cxn>
              <a:cxn ang="0">
                <a:pos x="3986" y="2526"/>
              </a:cxn>
            </a:cxnLst>
            <a:rect l="0" t="0" r="r" b="b"/>
            <a:pathLst>
              <a:path w="3986" h="3572">
                <a:moveTo>
                  <a:pt x="3986" y="2526"/>
                </a:moveTo>
                <a:lnTo>
                  <a:pt x="3986" y="2526"/>
                </a:lnTo>
                <a:lnTo>
                  <a:pt x="3986" y="2512"/>
                </a:lnTo>
                <a:lnTo>
                  <a:pt x="3986" y="2512"/>
                </a:lnTo>
                <a:lnTo>
                  <a:pt x="3986" y="0"/>
                </a:lnTo>
                <a:lnTo>
                  <a:pt x="3986" y="0"/>
                </a:lnTo>
                <a:lnTo>
                  <a:pt x="648" y="0"/>
                </a:lnTo>
                <a:lnTo>
                  <a:pt x="648" y="0"/>
                </a:lnTo>
                <a:lnTo>
                  <a:pt x="666" y="42"/>
                </a:lnTo>
                <a:lnTo>
                  <a:pt x="682" y="84"/>
                </a:lnTo>
                <a:lnTo>
                  <a:pt x="682" y="84"/>
                </a:lnTo>
                <a:lnTo>
                  <a:pt x="698" y="132"/>
                </a:lnTo>
                <a:lnTo>
                  <a:pt x="712" y="182"/>
                </a:lnTo>
                <a:lnTo>
                  <a:pt x="724" y="230"/>
                </a:lnTo>
                <a:lnTo>
                  <a:pt x="732" y="280"/>
                </a:lnTo>
                <a:lnTo>
                  <a:pt x="738" y="328"/>
                </a:lnTo>
                <a:lnTo>
                  <a:pt x="742" y="378"/>
                </a:lnTo>
                <a:lnTo>
                  <a:pt x="744" y="428"/>
                </a:lnTo>
                <a:lnTo>
                  <a:pt x="744" y="478"/>
                </a:lnTo>
                <a:lnTo>
                  <a:pt x="744" y="478"/>
                </a:lnTo>
                <a:lnTo>
                  <a:pt x="742" y="568"/>
                </a:lnTo>
                <a:lnTo>
                  <a:pt x="734" y="656"/>
                </a:lnTo>
                <a:lnTo>
                  <a:pt x="724" y="742"/>
                </a:lnTo>
                <a:lnTo>
                  <a:pt x="710" y="830"/>
                </a:lnTo>
                <a:lnTo>
                  <a:pt x="694" y="916"/>
                </a:lnTo>
                <a:lnTo>
                  <a:pt x="674" y="1002"/>
                </a:lnTo>
                <a:lnTo>
                  <a:pt x="652" y="1088"/>
                </a:lnTo>
                <a:lnTo>
                  <a:pt x="628" y="1172"/>
                </a:lnTo>
                <a:lnTo>
                  <a:pt x="628" y="1172"/>
                </a:lnTo>
                <a:lnTo>
                  <a:pt x="590" y="1296"/>
                </a:lnTo>
                <a:lnTo>
                  <a:pt x="548" y="1420"/>
                </a:lnTo>
                <a:lnTo>
                  <a:pt x="504" y="1542"/>
                </a:lnTo>
                <a:lnTo>
                  <a:pt x="456" y="1662"/>
                </a:lnTo>
                <a:lnTo>
                  <a:pt x="406" y="1782"/>
                </a:lnTo>
                <a:lnTo>
                  <a:pt x="354" y="1900"/>
                </a:lnTo>
                <a:lnTo>
                  <a:pt x="300" y="2020"/>
                </a:lnTo>
                <a:lnTo>
                  <a:pt x="244" y="2136"/>
                </a:lnTo>
                <a:lnTo>
                  <a:pt x="244" y="2136"/>
                </a:lnTo>
                <a:lnTo>
                  <a:pt x="188" y="2252"/>
                </a:lnTo>
                <a:lnTo>
                  <a:pt x="128" y="2366"/>
                </a:lnTo>
                <a:lnTo>
                  <a:pt x="70" y="2480"/>
                </a:lnTo>
                <a:lnTo>
                  <a:pt x="8" y="2594"/>
                </a:lnTo>
                <a:lnTo>
                  <a:pt x="8" y="2594"/>
                </a:lnTo>
                <a:lnTo>
                  <a:pt x="0" y="2608"/>
                </a:lnTo>
                <a:lnTo>
                  <a:pt x="0" y="2608"/>
                </a:lnTo>
                <a:lnTo>
                  <a:pt x="0" y="2612"/>
                </a:lnTo>
                <a:lnTo>
                  <a:pt x="0" y="2612"/>
                </a:lnTo>
                <a:lnTo>
                  <a:pt x="50" y="2690"/>
                </a:lnTo>
                <a:lnTo>
                  <a:pt x="100" y="2766"/>
                </a:lnTo>
                <a:lnTo>
                  <a:pt x="100" y="2766"/>
                </a:lnTo>
                <a:lnTo>
                  <a:pt x="144" y="2828"/>
                </a:lnTo>
                <a:lnTo>
                  <a:pt x="190" y="2890"/>
                </a:lnTo>
                <a:lnTo>
                  <a:pt x="236" y="2948"/>
                </a:lnTo>
                <a:lnTo>
                  <a:pt x="286" y="3006"/>
                </a:lnTo>
                <a:lnTo>
                  <a:pt x="336" y="3062"/>
                </a:lnTo>
                <a:lnTo>
                  <a:pt x="390" y="3116"/>
                </a:lnTo>
                <a:lnTo>
                  <a:pt x="444" y="3170"/>
                </a:lnTo>
                <a:lnTo>
                  <a:pt x="502" y="3220"/>
                </a:lnTo>
                <a:lnTo>
                  <a:pt x="502" y="3220"/>
                </a:lnTo>
                <a:lnTo>
                  <a:pt x="540" y="3252"/>
                </a:lnTo>
                <a:lnTo>
                  <a:pt x="582" y="3282"/>
                </a:lnTo>
                <a:lnTo>
                  <a:pt x="622" y="3312"/>
                </a:lnTo>
                <a:lnTo>
                  <a:pt x="664" y="3340"/>
                </a:lnTo>
                <a:lnTo>
                  <a:pt x="706" y="3366"/>
                </a:lnTo>
                <a:lnTo>
                  <a:pt x="750" y="3390"/>
                </a:lnTo>
                <a:lnTo>
                  <a:pt x="792" y="3414"/>
                </a:lnTo>
                <a:lnTo>
                  <a:pt x="838" y="3436"/>
                </a:lnTo>
                <a:lnTo>
                  <a:pt x="882" y="3456"/>
                </a:lnTo>
                <a:lnTo>
                  <a:pt x="928" y="3474"/>
                </a:lnTo>
                <a:lnTo>
                  <a:pt x="976" y="3492"/>
                </a:lnTo>
                <a:lnTo>
                  <a:pt x="1022" y="3506"/>
                </a:lnTo>
                <a:lnTo>
                  <a:pt x="1070" y="3520"/>
                </a:lnTo>
                <a:lnTo>
                  <a:pt x="1120" y="3532"/>
                </a:lnTo>
                <a:lnTo>
                  <a:pt x="1170" y="3542"/>
                </a:lnTo>
                <a:lnTo>
                  <a:pt x="1220" y="3552"/>
                </a:lnTo>
                <a:lnTo>
                  <a:pt x="1220" y="3552"/>
                </a:lnTo>
                <a:lnTo>
                  <a:pt x="1296" y="3562"/>
                </a:lnTo>
                <a:lnTo>
                  <a:pt x="1374" y="3568"/>
                </a:lnTo>
                <a:lnTo>
                  <a:pt x="1374" y="3568"/>
                </a:lnTo>
                <a:lnTo>
                  <a:pt x="1382" y="3568"/>
                </a:lnTo>
                <a:lnTo>
                  <a:pt x="1386" y="3568"/>
                </a:lnTo>
                <a:lnTo>
                  <a:pt x="1390" y="3572"/>
                </a:lnTo>
                <a:lnTo>
                  <a:pt x="1390" y="3572"/>
                </a:lnTo>
                <a:lnTo>
                  <a:pt x="1420" y="3572"/>
                </a:lnTo>
                <a:lnTo>
                  <a:pt x="1420" y="3572"/>
                </a:lnTo>
                <a:lnTo>
                  <a:pt x="1544" y="3572"/>
                </a:lnTo>
                <a:lnTo>
                  <a:pt x="1544" y="3572"/>
                </a:lnTo>
                <a:lnTo>
                  <a:pt x="1544" y="3568"/>
                </a:lnTo>
                <a:lnTo>
                  <a:pt x="1544" y="3568"/>
                </a:lnTo>
                <a:lnTo>
                  <a:pt x="1610" y="3564"/>
                </a:lnTo>
                <a:lnTo>
                  <a:pt x="1676" y="3558"/>
                </a:lnTo>
                <a:lnTo>
                  <a:pt x="1740" y="3552"/>
                </a:lnTo>
                <a:lnTo>
                  <a:pt x="1806" y="3542"/>
                </a:lnTo>
                <a:lnTo>
                  <a:pt x="1870" y="3530"/>
                </a:lnTo>
                <a:lnTo>
                  <a:pt x="1934" y="3516"/>
                </a:lnTo>
                <a:lnTo>
                  <a:pt x="1998" y="3502"/>
                </a:lnTo>
                <a:lnTo>
                  <a:pt x="2062" y="3486"/>
                </a:lnTo>
                <a:lnTo>
                  <a:pt x="2062" y="3486"/>
                </a:lnTo>
                <a:lnTo>
                  <a:pt x="2162" y="3458"/>
                </a:lnTo>
                <a:lnTo>
                  <a:pt x="2262" y="3426"/>
                </a:lnTo>
                <a:lnTo>
                  <a:pt x="2360" y="3392"/>
                </a:lnTo>
                <a:lnTo>
                  <a:pt x="2458" y="3356"/>
                </a:lnTo>
                <a:lnTo>
                  <a:pt x="2554" y="3316"/>
                </a:lnTo>
                <a:lnTo>
                  <a:pt x="2650" y="3276"/>
                </a:lnTo>
                <a:lnTo>
                  <a:pt x="2746" y="3234"/>
                </a:lnTo>
                <a:lnTo>
                  <a:pt x="2840" y="3190"/>
                </a:lnTo>
                <a:lnTo>
                  <a:pt x="2840" y="3190"/>
                </a:lnTo>
                <a:lnTo>
                  <a:pt x="2966" y="3128"/>
                </a:lnTo>
                <a:lnTo>
                  <a:pt x="3092" y="3062"/>
                </a:lnTo>
                <a:lnTo>
                  <a:pt x="3218" y="2996"/>
                </a:lnTo>
                <a:lnTo>
                  <a:pt x="3342" y="2928"/>
                </a:lnTo>
                <a:lnTo>
                  <a:pt x="3464" y="2858"/>
                </a:lnTo>
                <a:lnTo>
                  <a:pt x="3586" y="2786"/>
                </a:lnTo>
                <a:lnTo>
                  <a:pt x="3708" y="2714"/>
                </a:lnTo>
                <a:lnTo>
                  <a:pt x="3828" y="2640"/>
                </a:lnTo>
                <a:lnTo>
                  <a:pt x="3828" y="2640"/>
                </a:lnTo>
                <a:lnTo>
                  <a:pt x="3974" y="2548"/>
                </a:lnTo>
                <a:lnTo>
                  <a:pt x="3974" y="2548"/>
                </a:lnTo>
                <a:lnTo>
                  <a:pt x="3980" y="2544"/>
                </a:lnTo>
                <a:lnTo>
                  <a:pt x="3984" y="2540"/>
                </a:lnTo>
                <a:lnTo>
                  <a:pt x="3986" y="2534"/>
                </a:lnTo>
                <a:lnTo>
                  <a:pt x="3986" y="2526"/>
                </a:lnTo>
                <a:lnTo>
                  <a:pt x="3986" y="2526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2339788"/>
            <a:ext cx="4967932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3000"/>
              </a:lnSpc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3932559"/>
            <a:ext cx="4967932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xmlns="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37200" y="-1588"/>
            <a:ext cx="66548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grpSp>
        <p:nvGrpSpPr>
          <p:cNvPr id="17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3077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xmlns="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0"/>
            <a:ext cx="6423098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399" y="12267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399" y="1912986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399" y="25934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xmlns="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399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399" y="39601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399" y="464788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399" y="532683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xmlns="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399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xmlns="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8265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xmlns="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xmlns="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xmlns="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xmlns="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513715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7988" y="135815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88" y="2976180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416888" y="4537346"/>
            <a:ext cx="504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9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xmlns="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34" r:id="rId6"/>
    <p:sldLayoutId id="2147483821" r:id="rId7"/>
    <p:sldLayoutId id="2147483877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55" r:id="rId2"/>
    <p:sldLayoutId id="2147483841" r:id="rId3"/>
    <p:sldLayoutId id="2147483880" r:id="rId4"/>
    <p:sldLayoutId id="2147483881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962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506">
          <p15:clr>
            <a:srgbClr val="F26B43"/>
          </p15:clr>
        </p15:guide>
        <p15:guide id="2" pos="2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blogs.sap.com/2018/04/10/content-transport-using-cts-cloud-integration-part-1/?preview_id=644115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blogs.sap.com/2018/04/23/getting-started-with-sap-transport-management-service-beta-for-sap-cloud-platform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61B8B409-591E-4F4C-BDA2-E292A2B3E0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Versio</a:t>
            </a:r>
            <a:r>
              <a:rPr lang="en-US" dirty="0" smtClean="0"/>
              <a:t>n and Transport management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B479E337-09CA-4F50-9067-64D4BC4D4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Bangalore, Rajkum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568815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79749" y="15240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smtClean="0"/>
              <a:t>1d.  Manual Export</a:t>
            </a:r>
            <a:endParaRPr lang="en-IN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4326" y="1176900"/>
            <a:ext cx="11700000" cy="812099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 Manual Exports allows us to export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the integration package to your local file system in the form of a .zip file. </a:t>
            </a:r>
            <a:endParaRPr lang="en-IN" sz="1800" kern="0" dirty="0" smtClean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You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can import the same file in the 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target </a:t>
            </a:r>
            <a:r>
              <a:rPr lang="en-IN" sz="1800" kern="0" dirty="0">
                <a:solidFill>
                  <a:srgbClr val="002060"/>
                </a:solidFill>
                <a:latin typeface="Arial"/>
              </a:rPr>
              <a:t>tenant using the Import </a:t>
            </a:r>
            <a:r>
              <a:rPr lang="en-IN" sz="1800" kern="0" dirty="0" smtClean="0">
                <a:solidFill>
                  <a:srgbClr val="002060"/>
                </a:solidFill>
                <a:latin typeface="Arial"/>
              </a:rPr>
              <a:t>optio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endParaRPr lang="en-IN" sz="1800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8000" y="2061000"/>
            <a:ext cx="114126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kern="0" dirty="0">
                <a:solidFill>
                  <a:srgbClr val="002060"/>
                </a:solidFill>
                <a:latin typeface="Arial"/>
              </a:rPr>
              <a:t>Procedure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integration package that you want to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hoose Ex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.zip file is downloaded to the default browser download location on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Log in to the SAP Cloud Platform Integration web application to which you want to import the content. Choose 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hoose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mport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 new window opens in your file system explorer, allowing you to access your local file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Navigate to the folder path where the .zip file was downloaded in step 3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file and choose Open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You see a prompt indicating the successful import of the .zip file. You can see the imported integration package in the Design tab of your target tenant.</a:t>
            </a:r>
          </a:p>
        </p:txBody>
      </p:sp>
    </p:spTree>
    <p:extLst>
      <p:ext uri="{BB962C8B-B14F-4D97-AF65-F5344CB8AC3E}">
        <p14:creationId xmlns:p14="http://schemas.microsoft.com/office/powerpoint/2010/main" val="2210889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2.Version Management</a:t>
            </a:r>
            <a:endParaRPr lang="en-IN" b="1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394" y="893092"/>
            <a:ext cx="11240548" cy="648000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Versioning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s the creation and management of multiple releases of a software/component, all of which have the same general function but are improved, upgraded or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ustomized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2677" y="1541092"/>
            <a:ext cx="10152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SAP Cloud Platform Integration, new version is created when a component, which is already shipped and is being used by the customers needs to be improved or updated. </a:t>
            </a:r>
            <a:endParaRPr lang="en-IN" kern="0" dirty="0" smtClean="0">
              <a:solidFill>
                <a:srgbClr val="002060"/>
              </a:solidFill>
              <a:latin typeface="Arial"/>
            </a:endParaRP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New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features are offered via the minor version updates and small fixes like label changes or UI alignments are offered via micro version updates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Each component in SAP Cloud Platform Integration has a version and this version is defined using the paradigm &lt;major&gt;.&lt;minor&gt;.&lt;micro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&gt;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etails of the micro versions are not shown in the design time, as these changes doesn’t affect the scenario and are auto migrated after every software update.</a:t>
            </a:r>
          </a:p>
        </p:txBody>
      </p:sp>
      <p:pic>
        <p:nvPicPr>
          <p:cNvPr id="6" name="Picture 5" descr="https://blogs.sap.com/wp-content/uploads/2017/12/Versioning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000" y="4939703"/>
            <a:ext cx="2880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https://blogs.sap.com/wp-content/uploads/2017/12/Types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3388" y="4939703"/>
            <a:ext cx="2736000" cy="93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https://blogs.sap.com/wp-content/uploads/2017/12/ComponentVersion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777" y="3852583"/>
            <a:ext cx="3009900" cy="21742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6834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524000"/>
            <a:ext cx="5256000" cy="350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68625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+mn-lt"/>
                <a:ea typeface="+mn-ea"/>
                <a:cs typeface="+mn-cs"/>
              </a:rPr>
              <a:t/>
            </a:r>
            <a:br>
              <a:rPr lang="en-US" sz="3200" b="1" dirty="0">
                <a:latin typeface="+mn-lt"/>
                <a:ea typeface="+mn-ea"/>
                <a:cs typeface="+mn-cs"/>
              </a:rPr>
            </a:br>
            <a:r>
              <a:rPr lang="en-US" sz="3200" b="1" dirty="0">
                <a:latin typeface="+mn-lt"/>
                <a:ea typeface="+mn-ea"/>
                <a:cs typeface="+mn-cs"/>
              </a:rPr>
              <a:t>Table of Contents</a:t>
            </a:r>
            <a:endParaRPr lang="en-GB" sz="3200" b="1" dirty="0">
              <a:latin typeface="+mn-lt"/>
              <a:ea typeface="+mn-ea"/>
              <a:cs typeface="+mn-cs"/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899399" y="1504228"/>
            <a:ext cx="3812601" cy="555448"/>
          </a:xfrm>
        </p:spPr>
        <p:txBody>
          <a:bodyPr/>
          <a:lstStyle/>
          <a:p>
            <a:r>
              <a:rPr lang="en-US" dirty="0"/>
              <a:t>Transport </a:t>
            </a:r>
            <a:r>
              <a:rPr lang="en-US" dirty="0" smtClean="0"/>
              <a:t>Management Overview</a:t>
            </a:r>
            <a:endParaRPr lang="en-US" dirty="0"/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899399" y="2148696"/>
            <a:ext cx="2804601" cy="555448"/>
          </a:xfrm>
        </p:spPr>
        <p:txBody>
          <a:bodyPr/>
          <a:lstStyle/>
          <a:p>
            <a:r>
              <a:rPr lang="en-US" dirty="0" smtClean="0"/>
              <a:t>CTS+ Direct</a:t>
            </a:r>
            <a:endParaRPr lang="en-US" dirty="0"/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7899399" y="2854099"/>
            <a:ext cx="3708401" cy="555448"/>
          </a:xfrm>
        </p:spPr>
        <p:txBody>
          <a:bodyPr/>
          <a:lstStyle/>
          <a:p>
            <a:r>
              <a:rPr lang="en-IN" dirty="0" smtClean="0"/>
              <a:t>MTAR Download</a:t>
            </a:r>
            <a:endParaRPr lang="en-IN" dirty="0"/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899399" y="3526939"/>
            <a:ext cx="3708401" cy="555448"/>
          </a:xfrm>
        </p:spPr>
        <p:txBody>
          <a:bodyPr/>
          <a:lstStyle/>
          <a:p>
            <a:r>
              <a:rPr lang="en-IN" dirty="0" smtClean="0"/>
              <a:t>Transport Management Service</a:t>
            </a:r>
            <a:endParaRPr lang="en-IN" dirty="0"/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9" y="4220799"/>
            <a:ext cx="3708401" cy="555448"/>
          </a:xfrm>
        </p:spPr>
        <p:txBody>
          <a:bodyPr/>
          <a:lstStyle/>
          <a:p>
            <a:r>
              <a:rPr lang="en-IN" dirty="0" smtClean="0"/>
              <a:t>Manual Export</a:t>
            </a:r>
            <a:endParaRPr lang="en-IN" dirty="0"/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4355C12A-73CF-432A-BF98-DD896761F988}"/>
              </a:ext>
            </a:extLst>
          </p:cNvPr>
          <p:cNvGrpSpPr/>
          <p:nvPr/>
        </p:nvGrpSpPr>
        <p:grpSpPr>
          <a:xfrm>
            <a:off x="7087039" y="1465346"/>
            <a:ext cx="634560" cy="599554"/>
            <a:chOff x="6230532" y="1335315"/>
            <a:chExt cx="1204015" cy="1137596"/>
          </a:xfrm>
        </p:grpSpPr>
        <p:sp>
          <p:nvSpPr>
            <p:cNvPr id="48" name="Oval 20">
              <a:extLst>
                <a:ext uri="{FF2B5EF4-FFF2-40B4-BE49-F238E27FC236}">
                  <a16:creationId xmlns="" xmlns:a16="http://schemas.microsoft.com/office/drawing/2014/main" id="{06AC0EE6-AF4D-4FFC-ADD2-B9AE896BF230}"/>
                </a:ext>
              </a:extLst>
            </p:cNvPr>
            <p:cNvSpPr/>
            <p:nvPr/>
          </p:nvSpPr>
          <p:spPr>
            <a:xfrm>
              <a:off x="6230532" y="1335315"/>
              <a:ext cx="1204015" cy="1137596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49" name="Text Placeholder 14">
              <a:extLst>
                <a:ext uri="{FF2B5EF4-FFF2-40B4-BE49-F238E27FC236}">
                  <a16:creationId xmlns="" xmlns:a16="http://schemas.microsoft.com/office/drawing/2014/main" id="{D60C1C9E-EE4C-4D47-992A-F334F34763F0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4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="" xmlns:a16="http://schemas.microsoft.com/office/drawing/2014/main" id="{37CE2E9A-D16D-4728-93E9-77D9F10FF84D}"/>
              </a:ext>
            </a:extLst>
          </p:cNvPr>
          <p:cNvGrpSpPr/>
          <p:nvPr/>
        </p:nvGrpSpPr>
        <p:grpSpPr>
          <a:xfrm>
            <a:off x="7087040" y="2148696"/>
            <a:ext cx="634560" cy="599554"/>
            <a:chOff x="6230534" y="1335315"/>
            <a:chExt cx="1204015" cy="1137595"/>
          </a:xfrm>
        </p:grpSpPr>
        <p:sp>
          <p:nvSpPr>
            <p:cNvPr id="51" name="Oval 20">
              <a:extLst>
                <a:ext uri="{FF2B5EF4-FFF2-40B4-BE49-F238E27FC236}">
                  <a16:creationId xmlns="" xmlns:a16="http://schemas.microsoft.com/office/drawing/2014/main" id="{1F4C00B1-EB37-4D8D-B087-B71901408CA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2" name="Text Placeholder 14">
              <a:extLst>
                <a:ext uri="{FF2B5EF4-FFF2-40B4-BE49-F238E27FC236}">
                  <a16:creationId xmlns="" xmlns:a16="http://schemas.microsoft.com/office/drawing/2014/main" id="{C4550218-B999-4F1E-AB75-81E61E844865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a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BF6695B8-A1F9-4BAF-B035-C9665FAD6B20}"/>
              </a:ext>
            </a:extLst>
          </p:cNvPr>
          <p:cNvGrpSpPr/>
          <p:nvPr/>
        </p:nvGrpSpPr>
        <p:grpSpPr>
          <a:xfrm>
            <a:off x="7087040" y="2832046"/>
            <a:ext cx="634560" cy="599554"/>
            <a:chOff x="6230534" y="1335315"/>
            <a:chExt cx="1204015" cy="1137595"/>
          </a:xfrm>
        </p:grpSpPr>
        <p:sp>
          <p:nvSpPr>
            <p:cNvPr id="54" name="Oval 20">
              <a:extLst>
                <a:ext uri="{FF2B5EF4-FFF2-40B4-BE49-F238E27FC236}">
                  <a16:creationId xmlns="" xmlns:a16="http://schemas.microsoft.com/office/drawing/2014/main" id="{08EBF9D7-5CEF-4192-B663-8C98BC244251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/>
            </a:p>
          </p:txBody>
        </p:sp>
        <p:sp>
          <p:nvSpPr>
            <p:cNvPr id="55" name="Text Placeholder 14">
              <a:extLst>
                <a:ext uri="{FF2B5EF4-FFF2-40B4-BE49-F238E27FC236}">
                  <a16:creationId xmlns="" xmlns:a16="http://schemas.microsoft.com/office/drawing/2014/main" id="{7A7F6C08-9BE8-4609-B27D-D68DDAB76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b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="" xmlns:a16="http://schemas.microsoft.com/office/drawing/2014/main" id="{11EEF4D5-4815-4248-AFF4-A3B0893BA6AE}"/>
              </a:ext>
            </a:extLst>
          </p:cNvPr>
          <p:cNvGrpSpPr/>
          <p:nvPr/>
        </p:nvGrpSpPr>
        <p:grpSpPr>
          <a:xfrm>
            <a:off x="7087040" y="3515396"/>
            <a:ext cx="634560" cy="599554"/>
            <a:chOff x="6230534" y="1335315"/>
            <a:chExt cx="1204015" cy="1137595"/>
          </a:xfrm>
        </p:grpSpPr>
        <p:sp>
          <p:nvSpPr>
            <p:cNvPr id="57" name="Oval 20">
              <a:extLst>
                <a:ext uri="{FF2B5EF4-FFF2-40B4-BE49-F238E27FC236}">
                  <a16:creationId xmlns="" xmlns:a16="http://schemas.microsoft.com/office/drawing/2014/main" id="{65F1E6A8-6715-4312-882B-776264811647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58" name="Text Placeholder 14">
              <a:extLst>
                <a:ext uri="{FF2B5EF4-FFF2-40B4-BE49-F238E27FC236}">
                  <a16:creationId xmlns="" xmlns:a16="http://schemas.microsoft.com/office/drawing/2014/main" id="{B95A5F15-CA62-4E49-8AEF-C1A9A0086C3F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76283"/>
              <a:ext cx="887568" cy="482705"/>
            </a:xfrm>
            <a:prstGeom prst="rect">
              <a:avLst/>
            </a:prstGeom>
          </p:spPr>
          <p:txBody>
            <a:bodyPr anchor="ctr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c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="" xmlns:a16="http://schemas.microsoft.com/office/drawing/2014/main" id="{72594B11-398B-4F44-BD01-75E581F8C550}"/>
              </a:ext>
            </a:extLst>
          </p:cNvPr>
          <p:cNvGrpSpPr/>
          <p:nvPr/>
        </p:nvGrpSpPr>
        <p:grpSpPr>
          <a:xfrm>
            <a:off x="7087040" y="4198746"/>
            <a:ext cx="634560" cy="599554"/>
            <a:chOff x="6230534" y="1335315"/>
            <a:chExt cx="1204015" cy="1137595"/>
          </a:xfrm>
        </p:grpSpPr>
        <p:sp>
          <p:nvSpPr>
            <p:cNvPr id="60" name="Oval 20">
              <a:extLst>
                <a:ext uri="{FF2B5EF4-FFF2-40B4-BE49-F238E27FC236}">
                  <a16:creationId xmlns="" xmlns:a16="http://schemas.microsoft.com/office/drawing/2014/main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1" name="Text Placeholder 14">
              <a:extLst>
                <a:ext uri="{FF2B5EF4-FFF2-40B4-BE49-F238E27FC236}">
                  <a16:creationId xmlns="" xmlns:a16="http://schemas.microsoft.com/office/drawing/2014/main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1d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  <p:sp>
        <p:nvSpPr>
          <p:cNvPr id="62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899398" y="4904149"/>
            <a:ext cx="3708401" cy="555448"/>
          </a:xfrm>
        </p:spPr>
        <p:txBody>
          <a:bodyPr/>
          <a:lstStyle/>
          <a:p>
            <a:r>
              <a:rPr lang="en-IN" dirty="0"/>
              <a:t>Version </a:t>
            </a:r>
            <a:r>
              <a:rPr lang="en-IN" dirty="0" smtClean="0"/>
              <a:t>Management</a:t>
            </a:r>
            <a:endParaRPr lang="en-IN" dirty="0"/>
          </a:p>
        </p:txBody>
      </p:sp>
      <p:grpSp>
        <p:nvGrpSpPr>
          <p:cNvPr id="63" name="Group 62">
            <a:extLst>
              <a:ext uri="{FF2B5EF4-FFF2-40B4-BE49-F238E27FC236}">
                <a16:creationId xmlns="" xmlns:a16="http://schemas.microsoft.com/office/drawing/2014/main" id="{72594B11-398B-4F44-BD01-75E581F8C550}"/>
              </a:ext>
            </a:extLst>
          </p:cNvPr>
          <p:cNvGrpSpPr/>
          <p:nvPr/>
        </p:nvGrpSpPr>
        <p:grpSpPr>
          <a:xfrm>
            <a:off x="7087039" y="4882096"/>
            <a:ext cx="634560" cy="599554"/>
            <a:chOff x="6230534" y="1335315"/>
            <a:chExt cx="1204015" cy="1137595"/>
          </a:xfrm>
        </p:grpSpPr>
        <p:sp>
          <p:nvSpPr>
            <p:cNvPr id="64" name="Oval 20">
              <a:extLst>
                <a:ext uri="{FF2B5EF4-FFF2-40B4-BE49-F238E27FC236}">
                  <a16:creationId xmlns="" xmlns:a16="http://schemas.microsoft.com/office/drawing/2014/main" id="{17E8B294-1CC0-4A4C-85F9-C7DB5881222A}"/>
                </a:ext>
              </a:extLst>
            </p:cNvPr>
            <p:cNvSpPr/>
            <p:nvPr/>
          </p:nvSpPr>
          <p:spPr>
            <a:xfrm>
              <a:off x="6230534" y="1335315"/>
              <a:ext cx="1204015" cy="1137595"/>
            </a:xfrm>
            <a:custGeom>
              <a:avLst/>
              <a:gdLst>
                <a:gd name="connsiteX0" fmla="*/ 0 w 3314251"/>
                <a:gd name="connsiteY0" fmla="*/ 1564410 h 3128820"/>
                <a:gd name="connsiteX1" fmla="*/ 1657126 w 3314251"/>
                <a:gd name="connsiteY1" fmla="*/ 0 h 3128820"/>
                <a:gd name="connsiteX2" fmla="*/ 3314252 w 3314251"/>
                <a:gd name="connsiteY2" fmla="*/ 1564410 h 3128820"/>
                <a:gd name="connsiteX3" fmla="*/ 1657126 w 3314251"/>
                <a:gd name="connsiteY3" fmla="*/ 3128820 h 3128820"/>
                <a:gd name="connsiteX4" fmla="*/ 0 w 3314251"/>
                <a:gd name="connsiteY4" fmla="*/ 1564410 h 3128820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5821 h 3130231"/>
                <a:gd name="connsiteX1" fmla="*/ 1657126 w 3314252"/>
                <a:gd name="connsiteY1" fmla="*/ 1411 h 3130231"/>
                <a:gd name="connsiteX2" fmla="*/ 3314252 w 3314252"/>
                <a:gd name="connsiteY2" fmla="*/ 1565821 h 3130231"/>
                <a:gd name="connsiteX3" fmla="*/ 1657126 w 3314252"/>
                <a:gd name="connsiteY3" fmla="*/ 3130231 h 3130231"/>
                <a:gd name="connsiteX4" fmla="*/ 0 w 3314252"/>
                <a:gd name="connsiteY4" fmla="*/ 1565821 h 3130231"/>
                <a:gd name="connsiteX0" fmla="*/ 0 w 3314252"/>
                <a:gd name="connsiteY0" fmla="*/ 1567937 h 3132347"/>
                <a:gd name="connsiteX1" fmla="*/ 1657126 w 3314252"/>
                <a:gd name="connsiteY1" fmla="*/ 3527 h 3132347"/>
                <a:gd name="connsiteX2" fmla="*/ 3314252 w 3314252"/>
                <a:gd name="connsiteY2" fmla="*/ 1567937 h 3132347"/>
                <a:gd name="connsiteX3" fmla="*/ 1657126 w 3314252"/>
                <a:gd name="connsiteY3" fmla="*/ 3132347 h 3132347"/>
                <a:gd name="connsiteX4" fmla="*/ 0 w 3314252"/>
                <a:gd name="connsiteY4" fmla="*/ 1567937 h 3132347"/>
                <a:gd name="connsiteX0" fmla="*/ 0 w 3314252"/>
                <a:gd name="connsiteY0" fmla="*/ 1564505 h 3128915"/>
                <a:gd name="connsiteX1" fmla="*/ 1657126 w 3314252"/>
                <a:gd name="connsiteY1" fmla="*/ 95 h 3128915"/>
                <a:gd name="connsiteX2" fmla="*/ 3314252 w 3314252"/>
                <a:gd name="connsiteY2" fmla="*/ 1564505 h 3128915"/>
                <a:gd name="connsiteX3" fmla="*/ 1657126 w 3314252"/>
                <a:gd name="connsiteY3" fmla="*/ 3128915 h 3128915"/>
                <a:gd name="connsiteX4" fmla="*/ 0 w 3314252"/>
                <a:gd name="connsiteY4" fmla="*/ 1564505 h 3128915"/>
                <a:gd name="connsiteX0" fmla="*/ 0 w 3314252"/>
                <a:gd name="connsiteY0" fmla="*/ 1565503 h 3129913"/>
                <a:gd name="connsiteX1" fmla="*/ 1657126 w 3314252"/>
                <a:gd name="connsiteY1" fmla="*/ 1093 h 3129913"/>
                <a:gd name="connsiteX2" fmla="*/ 3314252 w 3314252"/>
                <a:gd name="connsiteY2" fmla="*/ 1565503 h 3129913"/>
                <a:gd name="connsiteX3" fmla="*/ 1657126 w 3314252"/>
                <a:gd name="connsiteY3" fmla="*/ 3129913 h 3129913"/>
                <a:gd name="connsiteX4" fmla="*/ 0 w 3314252"/>
                <a:gd name="connsiteY4" fmla="*/ 1565503 h 3129913"/>
                <a:gd name="connsiteX0" fmla="*/ 0 w 3314252"/>
                <a:gd name="connsiteY0" fmla="*/ 1564410 h 3128820"/>
                <a:gd name="connsiteX1" fmla="*/ 1657126 w 3314252"/>
                <a:gd name="connsiteY1" fmla="*/ 0 h 3128820"/>
                <a:gd name="connsiteX2" fmla="*/ 3314252 w 3314252"/>
                <a:gd name="connsiteY2" fmla="*/ 1564410 h 3128820"/>
                <a:gd name="connsiteX3" fmla="*/ 1657126 w 3314252"/>
                <a:gd name="connsiteY3" fmla="*/ 3128820 h 3128820"/>
                <a:gd name="connsiteX4" fmla="*/ 0 w 3314252"/>
                <a:gd name="connsiteY4" fmla="*/ 1564410 h 3128820"/>
                <a:gd name="connsiteX0" fmla="*/ 0 w 3314252"/>
                <a:gd name="connsiteY0" fmla="*/ 1564433 h 3128843"/>
                <a:gd name="connsiteX1" fmla="*/ 1657126 w 3314252"/>
                <a:gd name="connsiteY1" fmla="*/ 23 h 3128843"/>
                <a:gd name="connsiteX2" fmla="*/ 3314252 w 3314252"/>
                <a:gd name="connsiteY2" fmla="*/ 1564433 h 3128843"/>
                <a:gd name="connsiteX3" fmla="*/ 1657126 w 3314252"/>
                <a:gd name="connsiteY3" fmla="*/ 3128843 h 3128843"/>
                <a:gd name="connsiteX4" fmla="*/ 0 w 3314252"/>
                <a:gd name="connsiteY4" fmla="*/ 1564433 h 3128843"/>
                <a:gd name="connsiteX0" fmla="*/ 0 w 3314252"/>
                <a:gd name="connsiteY0" fmla="*/ 1564433 h 3129053"/>
                <a:gd name="connsiteX1" fmla="*/ 1657126 w 3314252"/>
                <a:gd name="connsiteY1" fmla="*/ 23 h 3129053"/>
                <a:gd name="connsiteX2" fmla="*/ 3314252 w 3314252"/>
                <a:gd name="connsiteY2" fmla="*/ 1564433 h 3129053"/>
                <a:gd name="connsiteX3" fmla="*/ 1657126 w 3314252"/>
                <a:gd name="connsiteY3" fmla="*/ 3128843 h 3129053"/>
                <a:gd name="connsiteX4" fmla="*/ 0 w 3314252"/>
                <a:gd name="connsiteY4" fmla="*/ 1564433 h 3129053"/>
                <a:gd name="connsiteX0" fmla="*/ 0 w 3314252"/>
                <a:gd name="connsiteY0" fmla="*/ 1564433 h 3131880"/>
                <a:gd name="connsiteX1" fmla="*/ 1657126 w 3314252"/>
                <a:gd name="connsiteY1" fmla="*/ 23 h 3131880"/>
                <a:gd name="connsiteX2" fmla="*/ 3314252 w 3314252"/>
                <a:gd name="connsiteY2" fmla="*/ 1564433 h 3131880"/>
                <a:gd name="connsiteX3" fmla="*/ 1657126 w 3314252"/>
                <a:gd name="connsiteY3" fmla="*/ 3128843 h 3131880"/>
                <a:gd name="connsiteX4" fmla="*/ 0 w 3314252"/>
                <a:gd name="connsiteY4" fmla="*/ 1564433 h 3131880"/>
                <a:gd name="connsiteX0" fmla="*/ 0 w 3314252"/>
                <a:gd name="connsiteY0" fmla="*/ 1564433 h 3131423"/>
                <a:gd name="connsiteX1" fmla="*/ 1657126 w 3314252"/>
                <a:gd name="connsiteY1" fmla="*/ 23 h 3131423"/>
                <a:gd name="connsiteX2" fmla="*/ 3314252 w 3314252"/>
                <a:gd name="connsiteY2" fmla="*/ 1564433 h 3131423"/>
                <a:gd name="connsiteX3" fmla="*/ 1657126 w 3314252"/>
                <a:gd name="connsiteY3" fmla="*/ 3128843 h 3131423"/>
                <a:gd name="connsiteX4" fmla="*/ 0 w 3314252"/>
                <a:gd name="connsiteY4" fmla="*/ 1564433 h 313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4252" h="3131423">
                  <a:moveTo>
                    <a:pt x="0" y="1564433"/>
                  </a:moveTo>
                  <a:cubicBezTo>
                    <a:pt x="0" y="700433"/>
                    <a:pt x="775256" y="19074"/>
                    <a:pt x="1657126" y="23"/>
                  </a:cubicBezTo>
                  <a:cubicBezTo>
                    <a:pt x="2639009" y="-4740"/>
                    <a:pt x="3314252" y="700433"/>
                    <a:pt x="3314252" y="1564433"/>
                  </a:cubicBezTo>
                  <a:cubicBezTo>
                    <a:pt x="3314252" y="2428433"/>
                    <a:pt x="2367543" y="3071694"/>
                    <a:pt x="1657126" y="3128843"/>
                  </a:cubicBezTo>
                  <a:cubicBezTo>
                    <a:pt x="665721" y="3181230"/>
                    <a:pt x="0" y="2428433"/>
                    <a:pt x="0" y="1564433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sz="900" dirty="0"/>
            </a:p>
          </p:txBody>
        </p:sp>
        <p:sp>
          <p:nvSpPr>
            <p:cNvPr id="65" name="Text Placeholder 14">
              <a:extLst>
                <a:ext uri="{FF2B5EF4-FFF2-40B4-BE49-F238E27FC236}">
                  <a16:creationId xmlns="" xmlns:a16="http://schemas.microsoft.com/office/drawing/2014/main" id="{09E1C985-F8CD-41D6-8959-B41A3B9513A3}"/>
                </a:ext>
              </a:extLst>
            </p:cNvPr>
            <p:cNvSpPr txBox="1">
              <a:spLocks/>
            </p:cNvSpPr>
            <p:nvPr/>
          </p:nvSpPr>
          <p:spPr>
            <a:xfrm>
              <a:off x="6369574" y="1662761"/>
              <a:ext cx="887568" cy="482705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PT" sz="1400" b="1" dirty="0" smtClean="0">
                  <a:solidFill>
                    <a:srgbClr val="2C004B"/>
                  </a:solidFill>
                </a:rPr>
                <a:t>2</a:t>
              </a:r>
              <a:endParaRPr lang="pt-PT" sz="1400" b="1" dirty="0">
                <a:solidFill>
                  <a:srgbClr val="2C00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2909207"/>
      </p:ext>
    </p:extLst>
  </p:cSld>
  <p:clrMapOvr>
    <a:masterClrMapping/>
  </p:clrMapOvr>
  <p:transition spd="slow">
    <p:cover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build="p"/>
      <p:bldP spid="43" grpId="0" build="p"/>
      <p:bldP spid="44" grpId="0" build="p"/>
      <p:bldP spid="45" grpId="0" build="p"/>
      <p:bldP spid="46" grpId="0" build="p"/>
      <p:bldP spid="6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1.Transport Management Overview</a:t>
            </a:r>
            <a:endParaRPr lang="en-IN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E4C0A455-9DE7-45F0-8DEB-BB9FBDEA11CF}"/>
              </a:ext>
            </a:extLst>
          </p:cNvPr>
          <p:cNvSpPr/>
          <p:nvPr/>
        </p:nvSpPr>
        <p:spPr>
          <a:xfrm>
            <a:off x="713967" y="1433176"/>
            <a:ext cx="5598033" cy="283154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ontent Transport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Management allows us to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reuse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ontent between multiple tenants by exporting it from one tenant and importing it on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another. 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All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hese process ha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prerequisites. These setup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he background configuration of Transport systems to the CPI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system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64A"/>
                </a:solidFill>
                <a:latin typeface="Arial"/>
              </a:rPr>
              <a:t>User needs 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IntegrationContent.Transport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to Transport the components in CPI</a:t>
            </a:r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N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0194" y="693000"/>
            <a:ext cx="5507417" cy="361563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284" y="4308632"/>
            <a:ext cx="7098585" cy="181707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904000" y="4509000"/>
            <a:ext cx="1942185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IN" kern="0" dirty="0">
                <a:solidFill>
                  <a:srgbClr val="00264A"/>
                </a:solidFill>
                <a:latin typeface="Arial"/>
              </a:rPr>
              <a:t>Dropdown list provides the Transport modes supported</a:t>
            </a:r>
          </a:p>
        </p:txBody>
      </p:sp>
      <p:sp>
        <p:nvSpPr>
          <p:cNvPr id="9" name="Right Arrow 8"/>
          <p:cNvSpPr/>
          <p:nvPr/>
        </p:nvSpPr>
        <p:spPr>
          <a:xfrm>
            <a:off x="8040000" y="4986868"/>
            <a:ext cx="648000" cy="230303"/>
          </a:xfrm>
          <a:prstGeom prst="rightArrow">
            <a:avLst/>
          </a:prstGeom>
          <a:solidFill>
            <a:srgbClr val="0070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07821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1268999"/>
            <a:ext cx="11556652" cy="576001"/>
          </a:xfrm>
        </p:spPr>
        <p:txBody>
          <a:bodyPr/>
          <a:lstStyle/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This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ransport feature enables us to transport the integration package from the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Dev/Test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to the production landscape via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hange and Transport System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TS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+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7348" y="2061000"/>
            <a:ext cx="11556652" cy="3744000"/>
          </a:xfrm>
        </p:spPr>
        <p:txBody>
          <a:bodyPr>
            <a:noAutofit/>
          </a:bodyPr>
          <a:lstStyle/>
          <a:p>
            <a:pPr marL="457200" lvl="1" indent="0" defTabSz="957756">
              <a:buNone/>
            </a:pPr>
            <a:r>
              <a:rPr lang="en-IN" b="1" kern="0" dirty="0" smtClean="0">
                <a:solidFill>
                  <a:srgbClr val="00264A"/>
                </a:solidFill>
                <a:latin typeface="Arial"/>
              </a:rPr>
              <a:t>Settings to be done to enable CTS+ based transport</a:t>
            </a:r>
            <a:endParaRPr lang="en-IN" b="1" kern="0" dirty="0">
              <a:solidFill>
                <a:srgbClr val="00264A"/>
              </a:solidFill>
              <a:latin typeface="Arial"/>
            </a:endParaRP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You should enable transport to CTS+. As a Tenant Admin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you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can do this by accessing Settings Option and choosing the tab Transport Settings. You would have to choose either ‘MTAR Download’ or ‘CTS+ Direct’ from the dropdown list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able the service, Solutions Lifecycle Management in your account. Ensure that you perform this step in all the accounts where you want to use content transport using CTS+. This is a one-time activity. You can do that by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Login to your account in the SAP Cloud Platform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Service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Solutions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Lifecycle Management  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hoose Enable.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</a:rPr>
              <a:t>Create a new HTTP destination by selecting Configure Destinations. Ensure that the Name of the destination is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Cloud Integration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(case-sensitive) and the URL is the URL of the tenant management 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node</a:t>
            </a: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64A"/>
                </a:solidFill>
                <a:latin typeface="Arial"/>
                <a:hlinkClick r:id="rId2"/>
              </a:rPr>
              <a:t>https://blogs.sap.com/2018/04/10/content-transport-using-cts-cloud-integration-part-1/?</a:t>
            </a:r>
            <a:r>
              <a:rPr lang="en-IN" kern="0" dirty="0" smtClean="0">
                <a:solidFill>
                  <a:srgbClr val="00264A"/>
                </a:solidFill>
                <a:latin typeface="Arial"/>
                <a:hlinkClick r:id="rId2"/>
              </a:rPr>
              <a:t>preview_id=644115</a:t>
            </a:r>
            <a:endParaRPr lang="en-IN" kern="0" dirty="0" smtClean="0">
              <a:solidFill>
                <a:srgbClr val="00264A"/>
              </a:solidFill>
              <a:latin typeface="Arial"/>
            </a:endParaRPr>
          </a:p>
          <a:p>
            <a:pPr marL="920750" lvl="2" indent="-285750" defTabSz="957756">
              <a:buClr>
                <a:srgbClr val="0070AD"/>
              </a:buClr>
              <a:buFont typeface="Wingdings" panose="05000000000000000000" pitchFamily="2" charset="2"/>
              <a:buChar char="§"/>
            </a:pPr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1308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 smtClean="0"/>
              <a:t>1a.CTS+ Direct</a:t>
            </a:r>
            <a:endParaRPr lang="en-IN" b="1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1053000"/>
            <a:ext cx="11556652" cy="864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err="1">
                <a:solidFill>
                  <a:srgbClr val="002060"/>
                </a:solidFill>
                <a:latin typeface="Arial"/>
              </a:rPr>
              <a:t>CTS+Direct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would push MTAR content to an open Transport request in the configured CTS+ system maintained as a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Destination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est/Source tenant, select the integration package that you want to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transport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.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060400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Click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on Transport.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2550939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the Transport Comments prompt, provide comments and click on Transport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0000" y="3010461"/>
            <a:ext cx="11556652" cy="432000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ransport id will be displayed as shown above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00" y="3717000"/>
            <a:ext cx="6957677" cy="228741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2000" y="4102175"/>
            <a:ext cx="4069425" cy="1517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170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a.CTS+ Direct</a:t>
            </a:r>
            <a:endParaRPr lang="en-IN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504387" y="1279182"/>
            <a:ext cx="11556652" cy="4341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 defTabSz="957756"/>
            <a:r>
              <a:rPr lang="en-IN" kern="0" smtClean="0">
                <a:solidFill>
                  <a:srgbClr val="002060"/>
                </a:solidFill>
                <a:latin typeface="Arial"/>
              </a:rPr>
              <a:t>Navigate to target system and select the transport ID request and click on Import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02142" y="1845000"/>
            <a:ext cx="11556652" cy="1380314"/>
          </a:xfrm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onfirm Import with Date: Immediate and Import Options as: Leave Transport Requests in Queue for Later Import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The Integration package is imported into the Production tenant Account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In case of errors, you can check the logs by selecting the Import request and clicking on Logs button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000" y="3225720"/>
            <a:ext cx="9302371" cy="201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64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154964"/>
          </a:xfrm>
          <a:ln>
            <a:noFill/>
          </a:ln>
        </p:spPr>
        <p:txBody>
          <a:bodyPr>
            <a:normAutofit lnSpcReduction="10000"/>
          </a:bodyPr>
          <a:lstStyle/>
          <a:p>
            <a:pPr marL="457200" lvl="1" indent="0" defTabSz="957756">
              <a:buNone/>
            </a:pPr>
            <a:endParaRPr lang="en-IN" kern="0" dirty="0" smtClean="0">
              <a:solidFill>
                <a:srgbClr val="00264A"/>
              </a:solidFill>
              <a:latin typeface="Arial"/>
            </a:endParaRP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Transport Mode has to be set to MTAR Download in Settings tab of CPI.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In the Source/Test tenant, Select the integration package that you want to transport.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Click on Transport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2205000"/>
            <a:ext cx="10584000" cy="1479927"/>
          </a:xfrm>
          <a:ln>
            <a:noFill/>
          </a:ln>
        </p:spPr>
        <p:txBody>
          <a:bodyPr>
            <a:noAutofit/>
          </a:bodyPr>
          <a:lstStyle/>
          <a:p>
            <a:pPr marL="742950" lvl="1" indent="-285750" defTabSz="957756"/>
            <a:r>
              <a:rPr lang="en-IN" kern="0" dirty="0" smtClean="0">
                <a:solidFill>
                  <a:srgbClr val="00264A"/>
                </a:solidFill>
                <a:latin typeface="Arial"/>
              </a:rPr>
              <a:t>A 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file with extension .</a:t>
            </a:r>
            <a:r>
              <a:rPr lang="en-IN" kern="0" dirty="0" err="1">
                <a:solidFill>
                  <a:srgbClr val="00264A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64A"/>
                </a:solidFill>
                <a:latin typeface="Arial"/>
              </a:rPr>
              <a:t> is downloaded to your local file system in the download path configured in your browser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Ensure that the Integration flows to be transported are not in Draft State</a:t>
            </a:r>
            <a:r>
              <a:rPr lang="en-IN" kern="0" dirty="0" smtClean="0">
                <a:solidFill>
                  <a:srgbClr val="00264A"/>
                </a:solidFill>
                <a:latin typeface="Arial"/>
              </a:rPr>
              <a:t>.</a:t>
            </a:r>
          </a:p>
          <a:p>
            <a:pPr marL="742950" lvl="1" indent="-285750" defTabSz="957756"/>
            <a:r>
              <a:rPr lang="en-IN" kern="0" dirty="0">
                <a:solidFill>
                  <a:srgbClr val="00264A"/>
                </a:solidFill>
                <a:latin typeface="Arial"/>
              </a:rPr>
              <a:t>CTS+ is used to transport applications that are downloaded as MTAR files. Multiple MTA archives can be deployed to your subaccount in one run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000" y="3933000"/>
            <a:ext cx="6765517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873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1b.  MTAR Download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1442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b="1" kern="0" dirty="0" smtClean="0">
                <a:solidFill>
                  <a:srgbClr val="002060"/>
                </a:solidFill>
                <a:latin typeface="Arial"/>
              </a:rPr>
              <a:t>Steps needed in CTS+ Configuration:</a:t>
            </a:r>
          </a:p>
          <a:p>
            <a:pPr marL="742950" lvl="1" indent="-285750" defTabSz="957756"/>
            <a:r>
              <a:rPr lang="en-IN" kern="0" dirty="0" smtClean="0">
                <a:solidFill>
                  <a:srgbClr val="002060"/>
                </a:solidFill>
                <a:latin typeface="Arial"/>
              </a:rPr>
              <a:t>Transport Source and Target system has to be set in CTS.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Login to the 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WebUI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-&gt; Transport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Organizer</a:t>
            </a:r>
          </a:p>
          <a:p>
            <a:pPr marL="742950" lvl="1" indent="-285750" defTabSz="957756"/>
            <a:r>
              <a:rPr lang="en-IN" kern="0" dirty="0">
                <a:solidFill>
                  <a:srgbClr val="002060"/>
                </a:solidFill>
                <a:latin typeface="Arial"/>
              </a:rPr>
              <a:t>Click on Create Request – a pop up will open with the below details. Enter a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and click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on Create.</a:t>
            </a:r>
          </a:p>
          <a:p>
            <a:pPr marL="742950" lvl="1" indent="-285750" defTabSz="957756"/>
            <a:endParaRPr lang="en-IN" kern="0" dirty="0">
              <a:solidFill>
                <a:srgbClr val="00264A"/>
              </a:solidFill>
              <a:latin typeface="Arial"/>
            </a:endParaRPr>
          </a:p>
          <a:p>
            <a:pPr marL="457200" lvl="1" indent="0" defTabSz="957756">
              <a:buNone/>
            </a:pPr>
            <a:endParaRPr lang="en-IN" kern="0" dirty="0" smtClean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56000" y="2556404"/>
            <a:ext cx="51840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In Object List tab, Click on Attach and browse for the .</a:t>
            </a:r>
            <a:r>
              <a:rPr lang="en-IN" kern="0" dirty="0" err="1">
                <a:solidFill>
                  <a:srgbClr val="002060"/>
                </a:solidFill>
                <a:latin typeface="Arial"/>
              </a:rPr>
              <a:t>mtar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 file from your local system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elect the Application as “CPI – Multi Target Application” and click on “Add to List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”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Click on Attach. The transport request will be updated. Click on Save Changes in the Object list tab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After you have added one or more MTA archives in the request. Click on Release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.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Using CTS the released TR can be imported to the Target system.</a:t>
            </a:r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000" y="2571036"/>
            <a:ext cx="5792675" cy="3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132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27349" y="117000"/>
            <a:ext cx="11125236" cy="9330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smtClean="0"/>
              <a:t>1c.  Transport Management Service</a:t>
            </a:r>
            <a:endParaRPr lang="en-IN" b="1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999" y="1050036"/>
            <a:ext cx="10440000" cy="506964"/>
          </a:xfrm>
          <a:ln>
            <a:noFill/>
          </a:ln>
        </p:spPr>
        <p:txBody>
          <a:bodyPr>
            <a:normAutofit/>
          </a:bodyPr>
          <a:lstStyle/>
          <a:p>
            <a:pPr marL="457200" lvl="1" indent="0" defTabSz="957756">
              <a:buNone/>
            </a:pP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loud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Platform Integration customers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can transport </a:t>
            </a:r>
            <a:r>
              <a:rPr lang="en-IN" kern="0" dirty="0">
                <a:solidFill>
                  <a:srgbClr val="002060"/>
                </a:solidFill>
                <a:latin typeface="Arial"/>
              </a:rPr>
              <a:t>Integration Packages across Tenants using Cloud Based Transport Management </a:t>
            </a:r>
            <a:r>
              <a:rPr lang="en-IN" kern="0" dirty="0" smtClean="0">
                <a:solidFill>
                  <a:srgbClr val="002060"/>
                </a:solidFill>
                <a:latin typeface="Arial"/>
              </a:rPr>
              <a:t>Service.</a:t>
            </a:r>
            <a:endParaRPr lang="en-IN" kern="0" dirty="0" smtClean="0">
              <a:solidFill>
                <a:srgbClr val="00264A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8929" y="1629000"/>
            <a:ext cx="518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AP Cloud Platform Transport Management runs in SAP Cloud Platform Cloud Foundry Environment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 files can be transported in one of the following scenarios: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Directly from within another application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They are available on local file system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88929" y="3732325"/>
            <a:ext cx="4631071" cy="203132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en-IN" kern="0" dirty="0">
                <a:solidFill>
                  <a:srgbClr val="002060"/>
                </a:solidFill>
                <a:latin typeface="Arial"/>
              </a:rPr>
              <a:t>Steps needed can be referenced from the below link: </a:t>
            </a:r>
            <a:r>
              <a:rPr lang="en-IN" kern="0" dirty="0" smtClean="0">
                <a:solidFill>
                  <a:srgbClr val="002060"/>
                </a:solidFill>
                <a:latin typeface="Arial"/>
                <a:hlinkClick r:id="rId2"/>
              </a:rPr>
              <a:t>https://blogs.sap.com/2018/04/23/getting-started-with-sap-transport-management-service-beta-for-sap-cloud-platform/</a:t>
            </a:r>
            <a:endParaRPr lang="en-IN" kern="0" dirty="0" smtClean="0">
              <a:solidFill>
                <a:srgbClr val="002060"/>
              </a:solidFill>
              <a:latin typeface="Arial"/>
            </a:endParaRPr>
          </a:p>
          <a:p>
            <a:endParaRPr lang="en-IN" kern="0" dirty="0">
              <a:solidFill>
                <a:srgbClr val="002060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7084" y="2133000"/>
            <a:ext cx="5942745" cy="2729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1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9A39874-D0F0-4AC5-82B1-94182A90E699}"/>
    </a:ext>
  </a:extLst>
</a:theme>
</file>

<file path=ppt/theme/theme2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A220524B-0A71-4437-9042-A51560CDE696}" vid="{7060534E-5BA4-45FA-8695-388762625F30}"/>
    </a:ext>
  </a:extLst>
</a:theme>
</file>

<file path=ppt/theme/theme3.xml><?xml version="1.0" encoding="utf-8"?>
<a:theme xmlns:a="http://schemas.openxmlformats.org/drawingml/2006/main" name="Title Slid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8FE7168-D87E-42AB-B386-4F7E19B889AB}" vid="{BBB9F49C-7C56-443B-8448-8AD796982054}"/>
    </a:ext>
  </a:extLst>
</a:theme>
</file>

<file path=ppt/theme/theme4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1F777920F58F449DFE723C8ECB983A" ma:contentTypeVersion="10" ma:contentTypeDescription="Create a new document." ma:contentTypeScope="" ma:versionID="a34f216e8c15b786b813182c657c2c45">
  <xsd:schema xmlns:xsd="http://www.w3.org/2001/XMLSchema" xmlns:xs="http://www.w3.org/2001/XMLSchema" xmlns:p="http://schemas.microsoft.com/office/2006/metadata/properties" xmlns:ns2="872c2c8c-4a2d-4282-b3ae-965d5e263694" xmlns:ns3="35517446-20c8-4dbf-81a7-e8d1b5f96f52" targetNamespace="http://schemas.microsoft.com/office/2006/metadata/properties" ma:root="true" ma:fieldsID="35f86e32a74b6162c7d73e32434781eb" ns2:_="" ns3:_="">
    <xsd:import namespace="872c2c8c-4a2d-4282-b3ae-965d5e263694"/>
    <xsd:import namespace="35517446-20c8-4dbf-81a7-e8d1b5f96f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2c2c8c-4a2d-4282-b3ae-965d5e263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517446-20c8-4dbf-81a7-e8d1b5f96f5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A54849-2056-48B5-A080-1B8C4B0721E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04b4b45-45c6-4ff8-ab7c-012ed1925f3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6F7BCA9-BF66-47A4-9901-B1A57E9826A3}"/>
</file>

<file path=customXml/itemProps3.xml><?xml version="1.0" encoding="utf-8"?>
<ds:datastoreItem xmlns:ds="http://schemas.openxmlformats.org/officeDocument/2006/customXml" ds:itemID="{86A5ED73-CABA-4134-A55B-AD2DA39BF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86</TotalTime>
  <Words>1008</Words>
  <Application>Microsoft Office PowerPoint</Application>
  <PresentationFormat>Widescreen</PresentationFormat>
  <Paragraphs>86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Verdana</vt:lpstr>
      <vt:lpstr>Wingdings</vt:lpstr>
      <vt:lpstr>Capgemini Master</vt:lpstr>
      <vt:lpstr>Cover options</vt:lpstr>
      <vt:lpstr>Title Slide</vt:lpstr>
      <vt:lpstr>think-cell Slide</vt:lpstr>
      <vt:lpstr>PowerPoint Presentation</vt:lpstr>
      <vt:lpstr> Table of Contents</vt:lpstr>
      <vt:lpstr>1.Transport Management Overview</vt:lpstr>
      <vt:lpstr>1a.CTS+ Direct</vt:lpstr>
      <vt:lpstr>1a.CTS+ Direct</vt:lpstr>
      <vt:lpstr>1a.CTS+ Direct</vt:lpstr>
      <vt:lpstr>1b.  MTAR Download</vt:lpstr>
      <vt:lpstr>1b.  MTAR Download</vt:lpstr>
      <vt:lpstr>PowerPoint Presentation</vt:lpstr>
      <vt:lpstr>PowerPoint Presentation</vt:lpstr>
      <vt:lpstr>2.Version Management</vt:lpstr>
      <vt:lpstr>PowerPoint Presentation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Chandiran, Suriya</dc:creator>
  <cp:lastModifiedBy>Kumar, Raj</cp:lastModifiedBy>
  <cp:revision>33</cp:revision>
  <dcterms:created xsi:type="dcterms:W3CDTF">2019-06-24T10:07:26Z</dcterms:created>
  <dcterms:modified xsi:type="dcterms:W3CDTF">2019-09-05T10:2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F777920F58F449DFE723C8ECB983A</vt:lpwstr>
  </property>
</Properties>
</file>